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A83AF0-2255-4BB8-AE53-11115511FA74}" v="6" dt="2024-09-06T09:40:16.6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ehera, Diksha SBOBNG-PTIY/DFD" userId="84dce061-c69e-43e1-9ccb-d2bdf56cd318" providerId="ADAL" clId="{96A83AF0-2255-4BB8-AE53-11115511FA74}"/>
    <pc:docChg chg="custSel modSld">
      <pc:chgData name="Behera, Diksha SBOBNG-PTIY/DFD" userId="84dce061-c69e-43e1-9ccb-d2bdf56cd318" providerId="ADAL" clId="{96A83AF0-2255-4BB8-AE53-11115511FA74}" dt="2024-09-06T09:45:06.043" v="916" actId="20577"/>
      <pc:docMkLst>
        <pc:docMk/>
      </pc:docMkLst>
      <pc:sldChg chg="addSp delSp modSp mod">
        <pc:chgData name="Behera, Diksha SBOBNG-PTIY/DFD" userId="84dce061-c69e-43e1-9ccb-d2bdf56cd318" providerId="ADAL" clId="{96A83AF0-2255-4BB8-AE53-11115511FA74}" dt="2024-09-06T09:36:07.052" v="27" actId="1076"/>
        <pc:sldMkLst>
          <pc:docMk/>
          <pc:sldMk cId="867832184" sldId="2147375589"/>
        </pc:sldMkLst>
        <pc:spChg chg="mod">
          <ac:chgData name="Behera, Diksha SBOBNG-PTIY/DFD" userId="84dce061-c69e-43e1-9ccb-d2bdf56cd318" providerId="ADAL" clId="{96A83AF0-2255-4BB8-AE53-11115511FA74}" dt="2024-09-06T09:35:29.697" v="23" actId="20577"/>
          <ac:spMkLst>
            <pc:docMk/>
            <pc:sldMk cId="867832184" sldId="2147375589"/>
            <ac:spMk id="10" creationId="{1119CB9E-042F-11E8-F683-654626D307B3}"/>
          </ac:spMkLst>
        </pc:spChg>
        <pc:spChg chg="del mod">
          <ac:chgData name="Behera, Diksha SBOBNG-PTIY/DFD" userId="84dce061-c69e-43e1-9ccb-d2bdf56cd318" providerId="ADAL" clId="{96A83AF0-2255-4BB8-AE53-11115511FA74}" dt="2024-09-06T09:35:34.021" v="25" actId="478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Behera, Diksha SBOBNG-PTIY/DFD" userId="84dce061-c69e-43e1-9ccb-d2bdf56cd318" providerId="ADAL" clId="{96A83AF0-2255-4BB8-AE53-11115511FA74}" dt="2024-09-06T09:36:07.052" v="27" actId="1076"/>
          <ac:picMkLst>
            <pc:docMk/>
            <pc:sldMk cId="867832184" sldId="2147375589"/>
            <ac:picMk id="1026" creationId="{B5DADF1A-F82D-507C-DD8D-E6C0C09D46FA}"/>
          </ac:picMkLst>
        </pc:picChg>
      </pc:sldChg>
      <pc:sldChg chg="addSp delSp modSp mod">
        <pc:chgData name="Behera, Diksha SBOBNG-PTIY/DFD" userId="84dce061-c69e-43e1-9ccb-d2bdf56cd318" providerId="ADAL" clId="{96A83AF0-2255-4BB8-AE53-11115511FA74}" dt="2024-09-06T09:37:38.951" v="230" actId="1076"/>
        <pc:sldMkLst>
          <pc:docMk/>
          <pc:sldMk cId="245881457" sldId="2147375597"/>
        </pc:sldMkLst>
        <pc:spChg chg="mod">
          <ac:chgData name="Behera, Diksha SBOBNG-PTIY/DFD" userId="84dce061-c69e-43e1-9ccb-d2bdf56cd318" providerId="ADAL" clId="{96A83AF0-2255-4BB8-AE53-11115511FA74}" dt="2024-09-06T09:37:17.807" v="227" actId="20577"/>
          <ac:spMkLst>
            <pc:docMk/>
            <pc:sldMk cId="245881457" sldId="2147375597"/>
            <ac:spMk id="11" creationId="{DE9F1BE0-7910-FA1B-DCE8-56EFD1E4FC09}"/>
          </ac:spMkLst>
        </pc:spChg>
        <pc:spChg chg="del">
          <ac:chgData name="Behera, Diksha SBOBNG-PTIY/DFD" userId="84dce061-c69e-43e1-9ccb-d2bdf56cd318" providerId="ADAL" clId="{96A83AF0-2255-4BB8-AE53-11115511FA74}" dt="2024-09-06T09:37:20.657" v="228" actId="478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Behera, Diksha SBOBNG-PTIY/DFD" userId="84dce061-c69e-43e1-9ccb-d2bdf56cd318" providerId="ADAL" clId="{96A83AF0-2255-4BB8-AE53-11115511FA74}" dt="2024-09-06T09:37:38.951" v="230" actId="1076"/>
          <ac:picMkLst>
            <pc:docMk/>
            <pc:sldMk cId="245881457" sldId="2147375597"/>
            <ac:picMk id="2" creationId="{D25DDAC8-F729-A343-DC8B-10D5048C22DB}"/>
          </ac:picMkLst>
        </pc:picChg>
      </pc:sldChg>
      <pc:sldChg chg="addSp delSp modSp mod">
        <pc:chgData name="Behera, Diksha SBOBNG-PTIY/DFD" userId="84dce061-c69e-43e1-9ccb-d2bdf56cd318" providerId="ADAL" clId="{96A83AF0-2255-4BB8-AE53-11115511FA74}" dt="2024-09-06T09:39:07.355" v="381" actId="1076"/>
        <pc:sldMkLst>
          <pc:docMk/>
          <pc:sldMk cId="1181112711" sldId="2147375600"/>
        </pc:sldMkLst>
        <pc:spChg chg="mod">
          <ac:chgData name="Behera, Diksha SBOBNG-PTIY/DFD" userId="84dce061-c69e-43e1-9ccb-d2bdf56cd318" providerId="ADAL" clId="{96A83AF0-2255-4BB8-AE53-11115511FA74}" dt="2024-09-06T09:38:46.178" v="377" actId="20577"/>
          <ac:spMkLst>
            <pc:docMk/>
            <pc:sldMk cId="1181112711" sldId="2147375600"/>
            <ac:spMk id="11" creationId="{DE9F1BE0-7910-FA1B-DCE8-56EFD1E4FC09}"/>
          </ac:spMkLst>
        </pc:spChg>
        <pc:spChg chg="del mod">
          <ac:chgData name="Behera, Diksha SBOBNG-PTIY/DFD" userId="84dce061-c69e-43e1-9ccb-d2bdf56cd318" providerId="ADAL" clId="{96A83AF0-2255-4BB8-AE53-11115511FA74}" dt="2024-09-06T09:38:49.700" v="379" actId="478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Behera, Diksha SBOBNG-PTIY/DFD" userId="84dce061-c69e-43e1-9ccb-d2bdf56cd318" providerId="ADAL" clId="{96A83AF0-2255-4BB8-AE53-11115511FA74}" dt="2024-09-06T09:39:07.355" v="381" actId="1076"/>
          <ac:picMkLst>
            <pc:docMk/>
            <pc:sldMk cId="1181112711" sldId="2147375600"/>
            <ac:picMk id="2" creationId="{F7F5E8AE-D046-B923-7178-B9E8D2FC04C4}"/>
          </ac:picMkLst>
        </pc:picChg>
      </pc:sldChg>
      <pc:sldChg chg="addSp delSp modSp mod">
        <pc:chgData name="Behera, Diksha SBOBNG-PTIY/DFD" userId="84dce061-c69e-43e1-9ccb-d2bdf56cd318" providerId="ADAL" clId="{96A83AF0-2255-4BB8-AE53-11115511FA74}" dt="2024-09-06T09:40:16.622" v="487" actId="1076"/>
        <pc:sldMkLst>
          <pc:docMk/>
          <pc:sldMk cId="3233747587" sldId="2147375601"/>
        </pc:sldMkLst>
        <pc:spChg chg="mod">
          <ac:chgData name="Behera, Diksha SBOBNG-PTIY/DFD" userId="84dce061-c69e-43e1-9ccb-d2bdf56cd318" providerId="ADAL" clId="{96A83AF0-2255-4BB8-AE53-11115511FA74}" dt="2024-09-06T09:39:50.932" v="484" actId="20577"/>
          <ac:spMkLst>
            <pc:docMk/>
            <pc:sldMk cId="3233747587" sldId="2147375601"/>
            <ac:spMk id="11" creationId="{DE9F1BE0-7910-FA1B-DCE8-56EFD1E4FC09}"/>
          </ac:spMkLst>
        </pc:spChg>
        <pc:spChg chg="del">
          <ac:chgData name="Behera, Diksha SBOBNG-PTIY/DFD" userId="84dce061-c69e-43e1-9ccb-d2bdf56cd318" providerId="ADAL" clId="{96A83AF0-2255-4BB8-AE53-11115511FA74}" dt="2024-09-06T09:39:53.313" v="485" actId="478"/>
          <ac:spMkLst>
            <pc:docMk/>
            <pc:sldMk cId="3233747587" sldId="2147375601"/>
            <ac:spMk id="12" creationId="{E53E5C3F-4D2B-B85F-E592-E58E032C664C}"/>
          </ac:spMkLst>
        </pc:spChg>
        <pc:picChg chg="add mod">
          <ac:chgData name="Behera, Diksha SBOBNG-PTIY/DFD" userId="84dce061-c69e-43e1-9ccb-d2bdf56cd318" providerId="ADAL" clId="{96A83AF0-2255-4BB8-AE53-11115511FA74}" dt="2024-09-06T09:40:16.622" v="487" actId="1076"/>
          <ac:picMkLst>
            <pc:docMk/>
            <pc:sldMk cId="3233747587" sldId="2147375601"/>
            <ac:picMk id="2050" creationId="{2C7C1BE6-D701-5F0D-3749-A34290566788}"/>
          </ac:picMkLst>
        </pc:picChg>
      </pc:sldChg>
      <pc:sldChg chg="modSp mod">
        <pc:chgData name="Behera, Diksha SBOBNG-PTIY/DFD" userId="84dce061-c69e-43e1-9ccb-d2bdf56cd318" providerId="ADAL" clId="{96A83AF0-2255-4BB8-AE53-11115511FA74}" dt="2024-09-06T09:40:41.320" v="569" actId="20577"/>
        <pc:sldMkLst>
          <pc:docMk/>
          <pc:sldMk cId="3971512377" sldId="2147375603"/>
        </pc:sldMkLst>
        <pc:spChg chg="mod">
          <ac:chgData name="Behera, Diksha SBOBNG-PTIY/DFD" userId="84dce061-c69e-43e1-9ccb-d2bdf56cd318" providerId="ADAL" clId="{96A83AF0-2255-4BB8-AE53-11115511FA74}" dt="2024-09-06T09:40:41.320" v="569" actId="20577"/>
          <ac:spMkLst>
            <pc:docMk/>
            <pc:sldMk cId="3971512377" sldId="2147375603"/>
            <ac:spMk id="11" creationId="{DE9F1BE0-7910-FA1B-DCE8-56EFD1E4FC09}"/>
          </ac:spMkLst>
        </pc:spChg>
      </pc:sldChg>
      <pc:sldChg chg="modSp mod">
        <pc:chgData name="Behera, Diksha SBOBNG-PTIY/DFD" userId="84dce061-c69e-43e1-9ccb-d2bdf56cd318" providerId="ADAL" clId="{96A83AF0-2255-4BB8-AE53-11115511FA74}" dt="2024-09-06T09:41:07.477" v="646" actId="20577"/>
        <pc:sldMkLst>
          <pc:docMk/>
          <pc:sldMk cId="3179805674" sldId="2147375604"/>
        </pc:sldMkLst>
        <pc:spChg chg="mod">
          <ac:chgData name="Behera, Diksha SBOBNG-PTIY/DFD" userId="84dce061-c69e-43e1-9ccb-d2bdf56cd318" providerId="ADAL" clId="{96A83AF0-2255-4BB8-AE53-11115511FA74}" dt="2024-09-06T09:41:07.477" v="646" actId="20577"/>
          <ac:spMkLst>
            <pc:docMk/>
            <pc:sldMk cId="3179805674" sldId="2147375604"/>
            <ac:spMk id="11" creationId="{DE9F1BE0-7910-FA1B-DCE8-56EFD1E4FC09}"/>
          </ac:spMkLst>
        </pc:spChg>
      </pc:sldChg>
      <pc:sldChg chg="modSp mod">
        <pc:chgData name="Behera, Diksha SBOBNG-PTIY/DFD" userId="84dce061-c69e-43e1-9ccb-d2bdf56cd318" providerId="ADAL" clId="{96A83AF0-2255-4BB8-AE53-11115511FA74}" dt="2024-09-06T09:41:34.779" v="691" actId="20577"/>
        <pc:sldMkLst>
          <pc:docMk/>
          <pc:sldMk cId="86366928" sldId="2147375605"/>
        </pc:sldMkLst>
        <pc:spChg chg="mod">
          <ac:chgData name="Behera, Diksha SBOBNG-PTIY/DFD" userId="84dce061-c69e-43e1-9ccb-d2bdf56cd318" providerId="ADAL" clId="{96A83AF0-2255-4BB8-AE53-11115511FA74}" dt="2024-09-06T09:41:34.779" v="691" actId="20577"/>
          <ac:spMkLst>
            <pc:docMk/>
            <pc:sldMk cId="86366928" sldId="2147375605"/>
            <ac:spMk id="11" creationId="{DE9F1BE0-7910-FA1B-DCE8-56EFD1E4FC09}"/>
          </ac:spMkLst>
        </pc:spChg>
      </pc:sldChg>
      <pc:sldChg chg="modSp mod">
        <pc:chgData name="Behera, Diksha SBOBNG-PTIY/DFD" userId="84dce061-c69e-43e1-9ccb-d2bdf56cd318" providerId="ADAL" clId="{96A83AF0-2255-4BB8-AE53-11115511FA74}" dt="2024-09-06T09:43:02.655" v="760"/>
        <pc:sldMkLst>
          <pc:docMk/>
          <pc:sldMk cId="2340944189" sldId="2147375607"/>
        </pc:sldMkLst>
        <pc:spChg chg="mod">
          <ac:chgData name="Behera, Diksha SBOBNG-PTIY/DFD" userId="84dce061-c69e-43e1-9ccb-d2bdf56cd318" providerId="ADAL" clId="{96A83AF0-2255-4BB8-AE53-11115511FA74}" dt="2024-09-06T09:43:02.655" v="760"/>
          <ac:spMkLst>
            <pc:docMk/>
            <pc:sldMk cId="2340944189" sldId="2147375607"/>
            <ac:spMk id="11" creationId="{DE9F1BE0-7910-FA1B-DCE8-56EFD1E4FC09}"/>
          </ac:spMkLst>
        </pc:spChg>
      </pc:sldChg>
      <pc:sldChg chg="modSp mod">
        <pc:chgData name="Behera, Diksha SBOBNG-PTIY/DFD" userId="84dce061-c69e-43e1-9ccb-d2bdf56cd318" providerId="ADAL" clId="{96A83AF0-2255-4BB8-AE53-11115511FA74}" dt="2024-09-06T09:43:25.455" v="819" actId="20577"/>
        <pc:sldMkLst>
          <pc:docMk/>
          <pc:sldMk cId="3159148252" sldId="2147375608"/>
        </pc:sldMkLst>
        <pc:spChg chg="mod">
          <ac:chgData name="Behera, Diksha SBOBNG-PTIY/DFD" userId="84dce061-c69e-43e1-9ccb-d2bdf56cd318" providerId="ADAL" clId="{96A83AF0-2255-4BB8-AE53-11115511FA74}" dt="2024-09-06T09:43:25.455" v="819" actId="20577"/>
          <ac:spMkLst>
            <pc:docMk/>
            <pc:sldMk cId="3159148252" sldId="2147375608"/>
            <ac:spMk id="11" creationId="{DE9F1BE0-7910-FA1B-DCE8-56EFD1E4FC09}"/>
          </ac:spMkLst>
        </pc:spChg>
      </pc:sldChg>
      <pc:sldChg chg="modSp mod">
        <pc:chgData name="Behera, Diksha SBOBNG-PTIY/DFD" userId="84dce061-c69e-43e1-9ccb-d2bdf56cd318" providerId="ADAL" clId="{96A83AF0-2255-4BB8-AE53-11115511FA74}" dt="2024-09-06T09:44:26.956" v="852" actId="20577"/>
        <pc:sldMkLst>
          <pc:docMk/>
          <pc:sldMk cId="3754613224" sldId="2147375611"/>
        </pc:sldMkLst>
        <pc:spChg chg="mod">
          <ac:chgData name="Behera, Diksha SBOBNG-PTIY/DFD" userId="84dce061-c69e-43e1-9ccb-d2bdf56cd318" providerId="ADAL" clId="{96A83AF0-2255-4BB8-AE53-11115511FA74}" dt="2024-09-06T09:43:43.874" v="834" actId="5793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Behera, Diksha SBOBNG-PTIY/DFD" userId="84dce061-c69e-43e1-9ccb-d2bdf56cd318" providerId="ADAL" clId="{96A83AF0-2255-4BB8-AE53-11115511FA74}" dt="2024-09-06T09:44:19.702" v="842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Behera, Diksha SBOBNG-PTIY/DFD" userId="84dce061-c69e-43e1-9ccb-d2bdf56cd318" providerId="ADAL" clId="{96A83AF0-2255-4BB8-AE53-11115511FA74}" dt="2024-09-06T09:44:26.956" v="852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modSp mod">
        <pc:chgData name="Behera, Diksha SBOBNG-PTIY/DFD" userId="84dce061-c69e-43e1-9ccb-d2bdf56cd318" providerId="ADAL" clId="{96A83AF0-2255-4BB8-AE53-11115511FA74}" dt="2024-09-06T09:45:06.043" v="916" actId="20577"/>
        <pc:sldMkLst>
          <pc:docMk/>
          <pc:sldMk cId="1148838763" sldId="2147375613"/>
        </pc:sldMkLst>
        <pc:spChg chg="mod">
          <ac:chgData name="Behera, Diksha SBOBNG-PTIY/DFD" userId="84dce061-c69e-43e1-9ccb-d2bdf56cd318" providerId="ADAL" clId="{96A83AF0-2255-4BB8-AE53-11115511FA74}" dt="2024-09-06T09:45:06.043" v="916" actId="20577"/>
          <ac:spMkLst>
            <pc:docMk/>
            <pc:sldMk cId="1148838763" sldId="2147375613"/>
            <ac:spMk id="11" creationId="{8CC1343B-2E39-FEFF-8FF6-46822F18B43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&lt;Nam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Latest tech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r>
              <a:rPr lang="en-US" sz="2000" dirty="0"/>
              <a:t>Better </a:t>
            </a:r>
            <a:r>
              <a:rPr lang="en-US" sz="2000" dirty="0" err="1"/>
              <a:t>equipt</a:t>
            </a:r>
            <a:r>
              <a:rPr lang="en-US" sz="2000" dirty="0"/>
              <a:t> as an employe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r>
              <a:rPr lang="en-US" sz="2000" dirty="0"/>
              <a:t>A bit too much in the beginning </a:t>
            </a:r>
          </a:p>
          <a:p>
            <a:pPr marL="0" indent="0">
              <a:buNone/>
            </a:pPr>
            <a:r>
              <a:rPr lang="en-US" sz="2000" dirty="0"/>
              <a:t>Overcame through practice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  <a:p>
            <a:pPr marL="0" indent="0">
              <a:buNone/>
            </a:pPr>
            <a:r>
              <a:rPr lang="en-US" sz="2000" dirty="0"/>
              <a:t>https://github.com/diksha2789/final-case-study-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0" indent="0">
              <a:buNone/>
            </a:pPr>
            <a:r>
              <a:rPr lang="en-US" sz="2000" dirty="0"/>
              <a:t>Decent amount of coding involved </a:t>
            </a:r>
          </a:p>
          <a:p>
            <a:pPr marL="0" indent="0">
              <a:buNone/>
            </a:pPr>
            <a:r>
              <a:rPr lang="en-US" sz="2000" dirty="0"/>
              <a:t>Practice to overcome</a:t>
            </a:r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e practice 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 weeks 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n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Case study as a team to make calculator through </a:t>
            </a:r>
            <a:r>
              <a:rPr lang="en-US" sz="2000" dirty="0" err="1"/>
              <a:t>github</a:t>
            </a:r>
            <a:r>
              <a:rPr lang="en-US" sz="2000" dirty="0"/>
              <a:t> </a:t>
            </a:r>
          </a:p>
          <a:p>
            <a:r>
              <a:rPr lang="en-US" sz="2000" dirty="0"/>
              <a:t>Details of any funny incident which had an element of new learning for this week’s topic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Quick summary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dirty="0"/>
              <a:t>Importance of topics of upcoming week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earning never stops 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Image result for excited">
            <a:extLst>
              <a:ext uri="{FF2B5EF4-FFF2-40B4-BE49-F238E27FC236}">
                <a16:creationId xmlns:a16="http://schemas.microsoft.com/office/drawing/2014/main" id="{B5DADF1A-F82D-507C-DD8D-E6C0C09D46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913" y="2408873"/>
            <a:ext cx="2771775" cy="277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 - </a:t>
            </a:r>
            <a:r>
              <a:rPr lang="en-US" sz="2000" dirty="0" err="1"/>
              <a:t>AzureDevops</a:t>
            </a:r>
            <a:endParaRPr lang="en-US" sz="2000" dirty="0"/>
          </a:p>
          <a:p>
            <a:r>
              <a:rPr lang="en-US" sz="2000" dirty="0"/>
              <a:t>Key takeaway – how to make sprints, add tasks, run tests and </a:t>
            </a:r>
            <a:r>
              <a:rPr lang="en-US" sz="2000" dirty="0" err="1"/>
              <a:t>scrumm</a:t>
            </a:r>
            <a:r>
              <a:rPr lang="en-US" sz="2000" dirty="0"/>
              <a:t> meetings</a:t>
            </a:r>
          </a:p>
          <a:p>
            <a:r>
              <a:rPr lang="en-US" sz="2000" dirty="0"/>
              <a:t>How do I personally see this concept implemented in the Energy sector – this shall be used to better coordinate work flow and enhance communicatio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25DDAC8-F729-A343-DC8B-10D5048C22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7925" y="2287165"/>
            <a:ext cx="5731510" cy="322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 - GitHub</a:t>
            </a:r>
          </a:p>
          <a:p>
            <a:r>
              <a:rPr lang="en-US" sz="2000" dirty="0"/>
              <a:t>Key takeaway – how to create a repository, commit changes, pull requests, branches, workflow</a:t>
            </a:r>
          </a:p>
          <a:p>
            <a:r>
              <a:rPr lang="en-US" sz="2000" dirty="0"/>
              <a:t>How do I personally see this concept implemented in the Energy sector – will be used in day to day wor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F5E8AE-D046-B923-7178-B9E8D2FC04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7445" y="2287165"/>
            <a:ext cx="5731510" cy="322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 – cloud </a:t>
            </a:r>
          </a:p>
          <a:p>
            <a:r>
              <a:rPr lang="en-US" sz="2000" dirty="0"/>
              <a:t>Key takeaway – importance of cloud, keeping up with tech</a:t>
            </a:r>
          </a:p>
          <a:p>
            <a:r>
              <a:rPr lang="en-US" sz="2000" dirty="0"/>
              <a:t>How do I personally see this concept implemented in the Energy sector – staying </a:t>
            </a:r>
            <a:r>
              <a:rPr lang="en-US" sz="2000" dirty="0" err="1"/>
              <a:t>upto</a:t>
            </a:r>
            <a:r>
              <a:rPr lang="en-US" sz="2000" dirty="0"/>
              <a:t> date with latest tech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0" name="Picture 2" descr="All images">
            <a:extLst>
              <a:ext uri="{FF2B5EF4-FFF2-40B4-BE49-F238E27FC236}">
                <a16:creationId xmlns:a16="http://schemas.microsoft.com/office/drawing/2014/main" id="{2C7C1BE6-D701-5F0D-3749-A34290566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250" y="2354580"/>
            <a:ext cx="42291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 err="1"/>
              <a:t>Azuredevops</a:t>
            </a:r>
            <a:r>
              <a:rPr lang="en-US" sz="2000" dirty="0"/>
              <a:t> is used by all teams in shell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Better understanding of the platform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again is used everyday by shell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r>
              <a:rPr lang="en-US" sz="2000" dirty="0"/>
              <a:t>Better understanding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97</TotalTime>
  <Words>655</Words>
  <Application>Microsoft Office PowerPoint</Application>
  <PresentationFormat>Widescreen</PresentationFormat>
  <Paragraphs>105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Behera, Diksha SBOBNG-PTIY/DFD</cp:lastModifiedBy>
  <cp:revision>499</cp:revision>
  <dcterms:created xsi:type="dcterms:W3CDTF">2022-01-18T12:35:56Z</dcterms:created>
  <dcterms:modified xsi:type="dcterms:W3CDTF">2024-09-06T09:4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